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7" r:id="rId2"/>
    <p:sldId id="256" r:id="rId3"/>
    <p:sldId id="258" r:id="rId4"/>
    <p:sldId id="259" r:id="rId5"/>
    <p:sldId id="260" r:id="rId6"/>
    <p:sldId id="261" r:id="rId7"/>
    <p:sldId id="262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sh Shaik" initials="DS" lastIdx="1" clrIdx="0">
    <p:extLst>
      <p:ext uri="{19B8F6BF-5375-455C-9EA6-DF929625EA0E}">
        <p15:presenceInfo xmlns:p15="http://schemas.microsoft.com/office/powerpoint/2012/main" userId="159a3c6ad299d82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161C24"/>
    <a:srgbClr val="181E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D33A63-B0DF-4285-9FB1-AFF5942CFC28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59393B-E910-43B9-B862-FBA8CB02EB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309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87BAD-3E8E-4BE3-9693-CEEE9C0620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0B35A2-FF17-4E3F-976B-F26DD31E62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C85890-AC3D-4B1A-B360-AF401F604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74ACC6-24FC-483A-AA50-00B2C8DD84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82DF92-EB7F-4E11-867B-A8CB5FE80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5760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B6B916-BE45-4152-920B-48FCE091F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8FE98E-F308-4EB8-986A-924FF9178D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A30436-38CD-4B8E-931B-554FC6AA7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A91049-33E1-4061-9782-5128B5BF3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462CD6-C552-4C77-9143-FE5355166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897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BA8FD72-11DB-4E7F-88D4-2C15DEBE6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9D5B25-212C-4947-8A9F-A8A34BB161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1E7999-B6F5-4957-93F0-23AE33DD9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D4A54-AE1A-468F-8DB4-60BBA9807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9081DF-8403-412C-AAFC-D060CA542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4577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76788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013FF-9F51-4232-9A1E-5605F0BD3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FAC49C-EE82-487B-9275-079CC1FFAC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EB1C2B-4D70-440C-9D50-60D5D51F40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734E8C-837F-401E-AE44-45B59E1F7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95238E-D1B8-4E61-A4DB-3DA591458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172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A26C03-D5AB-465C-A00F-D0D8577B8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1CED36-E2EA-461D-AD95-137A4C0C7F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B89C1D-0973-4A82-AF50-59D4B3EF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D3FB9B-397E-44DC-B6CC-305C6984C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117B8D-FA75-4563-A56B-CFE7D06A5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3308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D50F0E-D1D3-4CEF-AE80-1241E2052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6B32D-0DDA-406A-810C-29B921C119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3F571C-A6DF-4F41-862B-653FEF37E9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022E37-5526-4972-A6C8-033A34DB0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A89DDE-EA25-4F8D-862A-BC5722F79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D1399B-1819-460F-843C-3214C1853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052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30B260-A5D4-436D-BC4D-53D058C0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976A3E-177D-472A-BBE9-7D133E83FE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AD89BF-FD92-49CC-ACD7-14625BC884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7AD672-D722-4394-9604-637DAB304F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88060E-931C-4D1A-A3BF-1A0EED27BE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13FB74C-8A9E-4E4D-A71B-4DECC19C4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7DF590B-B25C-4C8A-B251-48784F7E7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E00C9C6-5752-42CC-8473-9B10E82BF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100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3EC19-50D9-43D7-92BE-506E0DE6E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D7B9C4-D289-43ED-98B8-0294EB93A0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BC0A81-AAD0-4B98-8975-1D8797E4C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F477B03-CC08-4DFB-9F99-6317C8776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814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0B2317-88C1-4D28-841B-BC0200C26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3F9486-6C6E-4F9D-9865-11692F78C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5F9324-702A-4CBB-BE08-3AFEE0FC94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860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C574D2-F26C-49AD-AE80-174868661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B6582-CD17-491B-A374-B9A5946112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30E3CF-78FF-4169-ACF1-EE70C17AC9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6077E2-13A7-4D8E-AD7C-12032DF994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0FC936-E6D8-428A-91E7-5371CCEC8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104443-90DD-47A4-931C-75074B3BE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618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50D141-B9EB-4BCE-8A31-913070F46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1E158F-FF8B-46D3-9895-90DB2CB10A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47D0CE-B208-4259-B996-A06C7EB375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583E1D-9057-4600-AD0D-A20012A2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0CBFDD-9716-4ABC-9C1F-098A4D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DA9DBD-3377-4BB8-8684-A2E932F40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1301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F2F18B-7487-4264-8139-762BBFAA0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336572-2D29-4AAC-B83D-9A63EC0CF3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8274F-D417-4624-9499-9073BECD72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9C3C11-3B0C-4221-913B-9F9647A6E30C}" type="datetimeFigureOut">
              <a:rPr lang="en-US" smtClean="0"/>
              <a:t>6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5B200-6BCA-4725-8641-E22147BAAB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DDB837-802E-4C2C-846E-EBFA429835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7CF12B-403B-4F7D-B25C-9927CAB6E2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539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.png"/><Relationship Id="rId1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30.png"/><Relationship Id="rId17" Type="http://schemas.openxmlformats.org/officeDocument/2006/relationships/slide" Target="slide4.xml"/><Relationship Id="rId2" Type="http://schemas.openxmlformats.org/officeDocument/2006/relationships/tags" Target="../tags/tag2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slide" Target="slide2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40.png"/><Relationship Id="rId10" Type="http://schemas.openxmlformats.org/officeDocument/2006/relationships/image" Target="../media/image3.png"/><Relationship Id="rId19" Type="http://schemas.openxmlformats.org/officeDocument/2006/relationships/slide" Target="slide5.xml"/><Relationship Id="rId4" Type="http://schemas.openxmlformats.org/officeDocument/2006/relationships/tags" Target="../tags/tag4.xml"/><Relationship Id="rId9" Type="http://schemas.openxmlformats.org/officeDocument/2006/relationships/image" Target="../media/image2.png"/><Relationship Id="rId14" Type="http://schemas.openxmlformats.org/officeDocument/2006/relationships/slide" Target="slid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61C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27CB9F5-FD24-4509-9A51-A56BCCCF8671}"/>
              </a:ext>
            </a:extLst>
          </p:cNvPr>
          <p:cNvSpPr txBox="1"/>
          <p:nvPr/>
        </p:nvSpPr>
        <p:spPr>
          <a:xfrm>
            <a:off x="3516406" y="1059309"/>
            <a:ext cx="51591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 Black" panose="020B0A04020102020204" pitchFamily="34" charset="0"/>
              </a:rPr>
              <a:t>Sales Analytics Dashboar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F26DB55-4EB6-4038-A214-8C0CA5D1984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0668" y="0"/>
            <a:ext cx="1479838" cy="1211751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E542335E-904D-4C41-A3CA-F409C5D88F56}"/>
              </a:ext>
            </a:extLst>
          </p:cNvPr>
          <p:cNvSpPr txBox="1"/>
          <p:nvPr/>
        </p:nvSpPr>
        <p:spPr>
          <a:xfrm>
            <a:off x="3899646" y="5997407"/>
            <a:ext cx="515918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An Interactive Business Intelligence Report Designed in Power BI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b="1" i="1" dirty="0">
                <a:solidFill>
                  <a:schemeClr val="bg1"/>
                </a:solidFill>
              </a:rPr>
              <a:t>Dataset: Sales &amp; Financial Data (Kaggle Source)</a:t>
            </a:r>
          </a:p>
          <a:p>
            <a:r>
              <a:rPr lang="en-US" sz="1400" b="1" i="1" dirty="0">
                <a:solidFill>
                  <a:schemeClr val="bg1"/>
                </a:solidFill>
              </a:rPr>
              <a:t>By : Mohammed Danish Shaik</a:t>
            </a:r>
            <a:endParaRPr lang="en-US" sz="1400" b="1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9" name="Slide Zoom 28">
                <a:extLst>
                  <a:ext uri="{FF2B5EF4-FFF2-40B4-BE49-F238E27FC236}">
                    <a16:creationId xmlns:a16="http://schemas.microsoft.com/office/drawing/2014/main" id="{E95FEA25-2FA6-4B36-9E71-4CF066D1536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448063207"/>
                  </p:ext>
                </p:extLst>
              </p:nvPr>
            </p:nvGraphicFramePr>
            <p:xfrm>
              <a:off x="1028700" y="2135302"/>
              <a:ext cx="2684011" cy="1509756"/>
            </p:xfrm>
            <a:graphic>
              <a:graphicData uri="http://schemas.microsoft.com/office/powerpoint/2016/slidezoom">
                <pslz:sldZm>
                  <pslz:sldZmObj sldId="256" cId="1105132927">
                    <pslz:zmPr id="{BB6E541F-1BEE-44CD-A42D-2D068F9C98C9}" returnToParent="0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684011" cy="150975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9" name="Slide Zoom 28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E95FEA25-2FA6-4B36-9E71-4CF066D1536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28700" y="2135302"/>
                <a:ext cx="2684011" cy="150975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7" name="Slide Zoom 36">
                <a:extLst>
                  <a:ext uri="{FF2B5EF4-FFF2-40B4-BE49-F238E27FC236}">
                    <a16:creationId xmlns:a16="http://schemas.microsoft.com/office/drawing/2014/main" id="{37AF58FC-A67A-427D-87FC-D7EF927F371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200976351"/>
                  </p:ext>
                </p:extLst>
              </p:nvPr>
            </p:nvGraphicFramePr>
            <p:xfrm>
              <a:off x="4632270" y="2066567"/>
              <a:ext cx="2927458" cy="1646695"/>
            </p:xfrm>
            <a:graphic>
              <a:graphicData uri="http://schemas.microsoft.com/office/powerpoint/2016/slidezoom">
                <pslz:sldZm>
                  <pslz:sldZmObj sldId="258" cId="3950630272">
                    <pslz:zmPr id="{D8AE97F9-7577-4645-873D-69B674E99C69}" returnToParent="0" transitionDur="1000">
                      <p166:blipFill xmlns:p166="http://schemas.microsoft.com/office/powerpoint/2016/6/main">
                        <a:blip r:embed="rId1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927458" cy="164669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7" name="Slide Zoom 36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37AF58FC-A67A-427D-87FC-D7EF927F371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4632270" y="2066567"/>
                <a:ext cx="2927458" cy="164669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40" name="Slide Zoom 39">
                <a:extLst>
                  <a:ext uri="{FF2B5EF4-FFF2-40B4-BE49-F238E27FC236}">
                    <a16:creationId xmlns:a16="http://schemas.microsoft.com/office/drawing/2014/main" id="{5AFF1817-0821-438F-ADB4-CBEB4D600C9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7598825"/>
                  </p:ext>
                </p:extLst>
              </p:nvPr>
            </p:nvGraphicFramePr>
            <p:xfrm>
              <a:off x="8479287" y="2066567"/>
              <a:ext cx="2805148" cy="1577896"/>
            </p:xfrm>
            <a:graphic>
              <a:graphicData uri="http://schemas.microsoft.com/office/powerpoint/2016/slidezoom">
                <pslz:sldZm>
                  <pslz:sldZmObj sldId="259" cId="2010170917">
                    <pslz:zmPr id="{6C063F59-32DC-4E29-8036-6BA7CF7D7916}" returnToParent="0" transitionDur="1000">
                      <p166:blipFill xmlns:p166="http://schemas.microsoft.com/office/powerpoint/2016/6/main">
                        <a:blip r:embed="rId1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805148" cy="157789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40" name="Slide Zoom 39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5AFF1817-0821-438F-ADB4-CBEB4D600C9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8479287" y="2066567"/>
                <a:ext cx="2805148" cy="157789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41" name="Rectangle 1">
            <a:extLst>
              <a:ext uri="{FF2B5EF4-FFF2-40B4-BE49-F238E27FC236}">
                <a16:creationId xmlns:a16="http://schemas.microsoft.com/office/drawing/2014/main" id="{1F450AA6-500B-4AF8-AA62-3B571CA93B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095" y="1624125"/>
            <a:ext cx="2266951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4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ales and Profit Trend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Rectangle 1">
            <a:extLst>
              <a:ext uri="{FF2B5EF4-FFF2-40B4-BE49-F238E27FC236}">
                <a16:creationId xmlns:a16="http://schemas.microsoft.com/office/drawing/2014/main" id="{4B6C0967-E321-4FA7-B131-FCF99125EE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5054" y="1778013"/>
            <a:ext cx="268320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Rectangle 1">
            <a:extLst>
              <a:ext uri="{FF2B5EF4-FFF2-40B4-BE49-F238E27FC236}">
                <a16:creationId xmlns:a16="http://schemas.microsoft.com/office/drawing/2014/main" id="{AF1FDE0B-77AD-4E28-B159-71DEFC46C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4396" y="1624125"/>
            <a:ext cx="2683207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4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Regional and retail analys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6F089D7C-4EBB-4C28-BBF5-20ABF9F5FA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3974" y="1520974"/>
            <a:ext cx="257568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400" b="1" dirty="0">
                <a:solidFill>
                  <a:schemeClr val="bg1"/>
                </a:solidFill>
                <a:latin typeface="Arial" panose="020B0604020202020204" pitchFamily="34" charset="0"/>
              </a:rPr>
              <a:t>Product and sales method overview</a:t>
            </a:r>
            <a:endParaRPr kumimoji="0" lang="en-US" altLang="en-US" sz="14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3" name="Slide Zoom 2">
                <a:extLst>
                  <a:ext uri="{FF2B5EF4-FFF2-40B4-BE49-F238E27FC236}">
                    <a16:creationId xmlns:a16="http://schemas.microsoft.com/office/drawing/2014/main" id="{A89D4071-043F-4412-9512-EF2971A6BFE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029182803"/>
                  </p:ext>
                </p:extLst>
              </p:nvPr>
            </p:nvGraphicFramePr>
            <p:xfrm>
              <a:off x="4632270" y="4376625"/>
              <a:ext cx="2881390" cy="1620782"/>
            </p:xfrm>
            <a:graphic>
              <a:graphicData uri="http://schemas.microsoft.com/office/powerpoint/2016/slidezoom">
                <pslz:sldZm>
                  <pslz:sldZmObj sldId="260" cId="2809383752">
                    <pslz:zmPr id="{C3B85D80-1FE6-4D81-A2F5-AD7C2A725F4A}" returnToParent="0" transitionDur="1000">
                      <p166:blipFill xmlns:p166="http://schemas.microsoft.com/office/powerpoint/2016/6/main">
                        <a:blip r:embed="rId1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881390" cy="162078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3" name="Slide Zoom 2">
                <a:hlinkClick r:id="rId19" action="ppaction://hlinksldjump"/>
                <a:extLst>
                  <a:ext uri="{FF2B5EF4-FFF2-40B4-BE49-F238E27FC236}">
                    <a16:creationId xmlns:a16="http://schemas.microsoft.com/office/drawing/2014/main" id="{A89D4071-043F-4412-9512-EF2971A6BFE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4632270" y="4376625"/>
                <a:ext cx="2881390" cy="162078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16" name="Rectangle 1">
            <a:extLst>
              <a:ext uri="{FF2B5EF4-FFF2-40B4-BE49-F238E27FC236}">
                <a16:creationId xmlns:a16="http://schemas.microsoft.com/office/drawing/2014/main" id="{F0714CA9-3FBB-4372-AFAB-4931EDE469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4396" y="3805119"/>
            <a:ext cx="2805332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Recommendation for Stake hold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1CD94ABC-5518-4D80-AF01-C8A6C13D2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49" y="233475"/>
            <a:ext cx="4219576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Page 1 – Sales and Profit Trend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0658C489-12CF-40F7-A862-61AA5F99E9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49" y="1722756"/>
            <a:ext cx="7229475" cy="3170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Visuals used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onthly Sales &amp; Profit Combo Cha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oM Growth Line Cha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Top 5 Most &amp; Least Profitable Months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Key Insigh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ighest sales in April (24.6M) and profit (9.3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April shows 94.18% MoM growth, while June drops by -47.81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rofit margins peak in spring months, dip mid-year</a:t>
            </a:r>
          </a:p>
          <a:p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Slicers: </a:t>
            </a:r>
            <a:r>
              <a:rPr lang="en-US" dirty="0">
                <a:solidFill>
                  <a:schemeClr val="bg1"/>
                </a:solidFill>
              </a:rPr>
              <a:t>Year, Cit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88263E-3CEB-4476-9186-2E38375336A7}"/>
              </a:ext>
            </a:extLst>
          </p:cNvPr>
          <p:cNvSpPr txBox="1"/>
          <p:nvPr/>
        </p:nvSpPr>
        <p:spPr>
          <a:xfrm>
            <a:off x="514350" y="805320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Summary:</a:t>
            </a:r>
          </a:p>
        </p:txBody>
      </p:sp>
    </p:spTree>
    <p:extLst>
      <p:ext uri="{BB962C8B-B14F-4D97-AF65-F5344CB8AC3E}">
        <p14:creationId xmlns:p14="http://schemas.microsoft.com/office/powerpoint/2010/main" val="11051329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1CD94ABC-5518-4D80-AF01-C8A6C13D2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48" y="233475"/>
            <a:ext cx="4895851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Page 2 – </a:t>
            </a:r>
            <a:r>
              <a:rPr lang="en-US" altLang="en-US" sz="2000" b="1" dirty="0">
                <a:solidFill>
                  <a:schemeClr val="bg1"/>
                </a:solidFill>
                <a:latin typeface="Arial" panose="020B0604020202020204" pitchFamily="34" charset="0"/>
              </a:rPr>
              <a:t>Regional and retail analysis</a:t>
            </a: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88263E-3CEB-4476-9186-2E38375336A7}"/>
              </a:ext>
            </a:extLst>
          </p:cNvPr>
          <p:cNvSpPr txBox="1"/>
          <p:nvPr/>
        </p:nvSpPr>
        <p:spPr>
          <a:xfrm>
            <a:off x="514350" y="805320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Summary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CC51BF0-A92D-4A1C-AA44-680B3847011D}"/>
              </a:ext>
            </a:extLst>
          </p:cNvPr>
          <p:cNvSpPr txBox="1"/>
          <p:nvPr/>
        </p:nvSpPr>
        <p:spPr>
          <a:xfrm>
            <a:off x="438148" y="1513206"/>
            <a:ext cx="609600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Visuals used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ap of Sales by St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onut Chart for Regional Distribu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Top 5 Profitable &amp; Least Profitable Sta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Top Retailers Bar Char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Key Insigh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est region leads with 76.9M sales, 24.5M profi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Top states: NY, FL, TX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est Gear is the top retailer (56M sales, 20M profi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States like California &amp; Nevada show low profit despite high sales</a:t>
            </a:r>
          </a:p>
        </p:txBody>
      </p:sp>
    </p:spTree>
    <p:extLst>
      <p:ext uri="{BB962C8B-B14F-4D97-AF65-F5344CB8AC3E}">
        <p14:creationId xmlns:p14="http://schemas.microsoft.com/office/powerpoint/2010/main" val="3950630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1CD94ABC-5518-4D80-AF01-C8A6C13D2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48" y="233475"/>
            <a:ext cx="6467477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Page 3 – Product and </a:t>
            </a:r>
            <a:r>
              <a:rPr lang="en-US" altLang="en-US" sz="2000" b="1" dirty="0">
                <a:solidFill>
                  <a:schemeClr val="bg1"/>
                </a:solidFill>
                <a:latin typeface="Arial" panose="020B0604020202020204" pitchFamily="34" charset="0"/>
              </a:rPr>
              <a:t>Sales Method overview</a:t>
            </a: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88263E-3CEB-4476-9186-2E38375336A7}"/>
              </a:ext>
            </a:extLst>
          </p:cNvPr>
          <p:cNvSpPr txBox="1"/>
          <p:nvPr/>
        </p:nvSpPr>
        <p:spPr>
          <a:xfrm>
            <a:off x="514350" y="805320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Summary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7A69FA-AC01-4803-8754-3FD22636FB26}"/>
              </a:ext>
            </a:extLst>
          </p:cNvPr>
          <p:cNvSpPr txBox="1"/>
          <p:nvPr/>
        </p:nvSpPr>
        <p:spPr>
          <a:xfrm>
            <a:off x="438148" y="1377940"/>
            <a:ext cx="609600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Visuals used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Top 5 Profitable Produc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est Sales Method (Outlet, In-store, Onlin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ost Units Sold by Produ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rofit Margin Table with arrow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Key Insigh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Men’s Street Footwear is top product by profit (15.5M, 41.14% margi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Best-performing channel: Outlet (69M sale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Online sales have lowest volu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Women's Apparel has high sales but lower margin (32.12%)</a:t>
            </a:r>
          </a:p>
        </p:txBody>
      </p:sp>
    </p:spTree>
    <p:extLst>
      <p:ext uri="{BB962C8B-B14F-4D97-AF65-F5344CB8AC3E}">
        <p14:creationId xmlns:p14="http://schemas.microsoft.com/office/powerpoint/2010/main" val="2010170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1CD94ABC-5518-4D80-AF01-C8A6C13D2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48" y="233475"/>
            <a:ext cx="6467477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Page 4 – Recommendation for Stake hold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C40498D-1A93-4F52-B94D-A7E8DE92B2CE}"/>
              </a:ext>
            </a:extLst>
          </p:cNvPr>
          <p:cNvGrpSpPr/>
          <p:nvPr/>
        </p:nvGrpSpPr>
        <p:grpSpPr>
          <a:xfrm>
            <a:off x="1658470" y="840815"/>
            <a:ext cx="9242611" cy="5176370"/>
            <a:chOff x="1658470" y="840815"/>
            <a:chExt cx="9242611" cy="517637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436F4E7-E06C-4ABB-A7E2-65AEAD75DD77}"/>
                </a:ext>
              </a:extLst>
            </p:cNvPr>
            <p:cNvGrpSpPr/>
            <p:nvPr/>
          </p:nvGrpSpPr>
          <p:grpSpPr>
            <a:xfrm>
              <a:off x="1658470" y="840815"/>
              <a:ext cx="9242611" cy="5176370"/>
              <a:chOff x="2148681" y="1054100"/>
              <a:chExt cx="7894638" cy="4483100"/>
            </a:xfrm>
          </p:grpSpPr>
          <p:sp>
            <p:nvSpPr>
              <p:cNvPr id="10" name="Rectangle: Diagonal Corners Snipped 9">
                <a:extLst>
                  <a:ext uri="{FF2B5EF4-FFF2-40B4-BE49-F238E27FC236}">
                    <a16:creationId xmlns:a16="http://schemas.microsoft.com/office/drawing/2014/main" id="{1085BC9B-937B-4B88-AFD9-0C348C93289B}"/>
                  </a:ext>
                </a:extLst>
              </p:cNvPr>
              <p:cNvSpPr/>
              <p:nvPr/>
            </p:nvSpPr>
            <p:spPr>
              <a:xfrm>
                <a:off x="2148681" y="1282700"/>
                <a:ext cx="7894638" cy="4254500"/>
              </a:xfrm>
              <a:prstGeom prst="snip2DiagRect">
                <a:avLst/>
              </a:prstGeom>
              <a:gradFill flip="none" rotWithShape="1">
                <a:gsLst>
                  <a:gs pos="100000">
                    <a:schemeClr val="tx1">
                      <a:alpha val="57000"/>
                    </a:schemeClr>
                  </a:gs>
                  <a:gs pos="0">
                    <a:srgbClr val="222A35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rgbClr val="2129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2" name="Rectangle: Single Corner Snipped 11">
                <a:extLst>
                  <a:ext uri="{FF2B5EF4-FFF2-40B4-BE49-F238E27FC236}">
                    <a16:creationId xmlns:a16="http://schemas.microsoft.com/office/drawing/2014/main" id="{2797B5B4-FD59-4E56-A93D-0130C7F533AE}"/>
                  </a:ext>
                </a:extLst>
              </p:cNvPr>
              <p:cNvSpPr/>
              <p:nvPr/>
            </p:nvSpPr>
            <p:spPr>
              <a:xfrm>
                <a:off x="2346325" y="10541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: Single Corner Snipped 12">
                <a:extLst>
                  <a:ext uri="{FF2B5EF4-FFF2-40B4-BE49-F238E27FC236}">
                    <a16:creationId xmlns:a16="http://schemas.microsoft.com/office/drawing/2014/main" id="{333333EA-C4F1-4A5E-852F-E3BC6BA2E125}"/>
                  </a:ext>
                </a:extLst>
              </p:cNvPr>
              <p:cNvSpPr/>
              <p:nvPr/>
            </p:nvSpPr>
            <p:spPr>
              <a:xfrm>
                <a:off x="6905625" y="52197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6C6BD07-4F4B-4B32-8EE3-395F8DC7783A}"/>
                </a:ext>
              </a:extLst>
            </p:cNvPr>
            <p:cNvSpPr txBox="1"/>
            <p:nvPr/>
          </p:nvSpPr>
          <p:spPr>
            <a:xfrm>
              <a:off x="1730186" y="1278593"/>
              <a:ext cx="8875059" cy="40318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✅ What’s Going Well (Strengths &amp; Opportunities):</a:t>
              </a:r>
            </a:p>
            <a:p>
              <a:endParaRPr lang="en-US" sz="1600" b="1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0B050"/>
                  </a:solidFill>
                </a:rPr>
                <a:t>High Profit Products Identified:</a:t>
              </a:r>
              <a:endParaRPr lang="en-US" sz="1600" dirty="0">
                <a:solidFill>
                  <a:srgbClr val="00B05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i="1" dirty="0">
                  <a:solidFill>
                    <a:schemeClr val="bg1"/>
                  </a:solidFill>
                </a:rPr>
                <a:t>Men’s Street Footwear</a:t>
              </a:r>
              <a:r>
                <a:rPr lang="en-US" sz="1600" dirty="0">
                  <a:solidFill>
                    <a:schemeClr val="bg1"/>
                  </a:solidFill>
                </a:rPr>
                <a:t> and </a:t>
              </a:r>
              <a:r>
                <a:rPr lang="en-US" sz="1600" i="1" dirty="0">
                  <a:solidFill>
                    <a:schemeClr val="bg1"/>
                  </a:solidFill>
                </a:rPr>
                <a:t>Women’s Apparel</a:t>
              </a:r>
              <a:r>
                <a:rPr lang="en-US" sz="1600" dirty="0">
                  <a:solidFill>
                    <a:schemeClr val="bg1"/>
                  </a:solidFill>
                </a:rPr>
                <a:t> deliver strong profits with high sales volume and solid margin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These products should continue to be prioritized in marketing and inventory planning.</a:t>
              </a:r>
            </a:p>
            <a:p>
              <a:pPr lvl="1"/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0B050"/>
                  </a:solidFill>
                </a:rPr>
                <a:t>Strong Regional Performance:</a:t>
              </a:r>
              <a:endParaRPr lang="en-US" sz="1600" dirty="0">
                <a:solidFill>
                  <a:srgbClr val="00B05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The </a:t>
              </a:r>
              <a:r>
                <a:rPr lang="en-US" sz="1600" b="1" dirty="0">
                  <a:solidFill>
                    <a:schemeClr val="bg1"/>
                  </a:solidFill>
                </a:rPr>
                <a:t>West</a:t>
              </a:r>
              <a:r>
                <a:rPr lang="en-US" sz="1600" dirty="0">
                  <a:solidFill>
                    <a:schemeClr val="bg1"/>
                  </a:solidFill>
                </a:rPr>
                <a:t> region leads in both sales (76.9M) and profit (24.5M), showing excellent performance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Retailer ‘West Gear’</a:t>
              </a:r>
              <a:r>
                <a:rPr lang="en-US" sz="1600" dirty="0">
                  <a:solidFill>
                    <a:schemeClr val="bg1"/>
                  </a:solidFill>
                </a:rPr>
                <a:t> is the top performer — consider expanding partnership or allocating more stock.</a:t>
              </a:r>
            </a:p>
            <a:p>
              <a:pPr lvl="1"/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0B050"/>
                  </a:solidFill>
                </a:rPr>
                <a:t>Best Sales Channel:</a:t>
              </a:r>
              <a:endParaRPr lang="en-US" sz="1600" dirty="0">
                <a:solidFill>
                  <a:srgbClr val="00B05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Outlet stores</a:t>
              </a:r>
              <a:r>
                <a:rPr lang="en-US" sz="1600" dirty="0">
                  <a:solidFill>
                    <a:schemeClr val="bg1"/>
                  </a:solidFill>
                </a:rPr>
                <a:t> generated the highest sales and profits (69M), showing strong customer engagement and conversion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Investment in outlet store marketing or expansion could yield continued growth.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1A72487-DE34-4F5A-8548-EA0572AE6FA6}"/>
              </a:ext>
            </a:extLst>
          </p:cNvPr>
          <p:cNvGrpSpPr/>
          <p:nvPr/>
        </p:nvGrpSpPr>
        <p:grpSpPr>
          <a:xfrm>
            <a:off x="-9656729" y="993215"/>
            <a:ext cx="9242611" cy="5176370"/>
            <a:chOff x="1658470" y="840815"/>
            <a:chExt cx="9242611" cy="517637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900EE14-0009-424F-B2C3-AE6FA19248ED}"/>
                </a:ext>
              </a:extLst>
            </p:cNvPr>
            <p:cNvGrpSpPr/>
            <p:nvPr/>
          </p:nvGrpSpPr>
          <p:grpSpPr>
            <a:xfrm>
              <a:off x="1658470" y="840815"/>
              <a:ext cx="9242611" cy="5176370"/>
              <a:chOff x="2148681" y="1054100"/>
              <a:chExt cx="7894638" cy="4483100"/>
            </a:xfrm>
          </p:grpSpPr>
          <p:sp>
            <p:nvSpPr>
              <p:cNvPr id="19" name="Rectangle: Diagonal Corners Snipped 18">
                <a:extLst>
                  <a:ext uri="{FF2B5EF4-FFF2-40B4-BE49-F238E27FC236}">
                    <a16:creationId xmlns:a16="http://schemas.microsoft.com/office/drawing/2014/main" id="{A0EEF3F4-271B-4023-A9A4-0618ED408749}"/>
                  </a:ext>
                </a:extLst>
              </p:cNvPr>
              <p:cNvSpPr/>
              <p:nvPr/>
            </p:nvSpPr>
            <p:spPr>
              <a:xfrm>
                <a:off x="2148681" y="1282700"/>
                <a:ext cx="7894638" cy="4254500"/>
              </a:xfrm>
              <a:prstGeom prst="snip2DiagRect">
                <a:avLst/>
              </a:prstGeom>
              <a:gradFill flip="none" rotWithShape="1">
                <a:gsLst>
                  <a:gs pos="100000">
                    <a:schemeClr val="tx1">
                      <a:alpha val="57000"/>
                    </a:schemeClr>
                  </a:gs>
                  <a:gs pos="0">
                    <a:srgbClr val="222A35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rgbClr val="2129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" name="Rectangle: Single Corner Snipped 19">
                <a:extLst>
                  <a:ext uri="{FF2B5EF4-FFF2-40B4-BE49-F238E27FC236}">
                    <a16:creationId xmlns:a16="http://schemas.microsoft.com/office/drawing/2014/main" id="{11E6790B-6C77-45F5-B98B-B375759E0EA4}"/>
                  </a:ext>
                </a:extLst>
              </p:cNvPr>
              <p:cNvSpPr/>
              <p:nvPr/>
            </p:nvSpPr>
            <p:spPr>
              <a:xfrm>
                <a:off x="2346325" y="10541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Rectangle: Single Corner Snipped 20">
                <a:extLst>
                  <a:ext uri="{FF2B5EF4-FFF2-40B4-BE49-F238E27FC236}">
                    <a16:creationId xmlns:a16="http://schemas.microsoft.com/office/drawing/2014/main" id="{8B26C173-3FCE-416E-AAD2-B0CFC279A0BA}"/>
                  </a:ext>
                </a:extLst>
              </p:cNvPr>
              <p:cNvSpPr/>
              <p:nvPr/>
            </p:nvSpPr>
            <p:spPr>
              <a:xfrm>
                <a:off x="6905625" y="52197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0E6060C-09C1-4F73-BDF0-DF00F6D5CEE4}"/>
                </a:ext>
              </a:extLst>
            </p:cNvPr>
            <p:cNvSpPr txBox="1"/>
            <p:nvPr/>
          </p:nvSpPr>
          <p:spPr>
            <a:xfrm>
              <a:off x="1880125" y="1310288"/>
              <a:ext cx="8875059" cy="44935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00" b="1" dirty="0">
                  <a:solidFill>
                    <a:schemeClr val="bg1"/>
                  </a:solidFill>
                </a:rPr>
                <a:t>⚠️ What Needs Improvement (Weaknesses &amp; Risks):</a:t>
              </a:r>
            </a:p>
            <a:p>
              <a:endParaRPr lang="en-US" sz="1500" b="1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Underperforming Months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Months like </a:t>
              </a:r>
              <a:r>
                <a:rPr lang="en-US" sz="1500" b="1" dirty="0">
                  <a:solidFill>
                    <a:schemeClr val="bg1"/>
                  </a:solidFill>
                </a:rPr>
                <a:t>June and July</a:t>
              </a:r>
              <a:r>
                <a:rPr lang="en-US" sz="1500" dirty="0">
                  <a:solidFill>
                    <a:schemeClr val="bg1"/>
                  </a:solidFill>
                </a:rPr>
                <a:t> showed significant MoM drops in sales and profit (e.g., June: -47.81%)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Review seasonal demand, marketing efforts, and supply chain during these period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sz="15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High Sales but Low Profit States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States like </a:t>
              </a:r>
              <a:r>
                <a:rPr lang="en-US" sz="1500" b="1" dirty="0">
                  <a:solidFill>
                    <a:schemeClr val="bg1"/>
                  </a:solidFill>
                </a:rPr>
                <a:t>California, Washington, and Nevada</a:t>
              </a:r>
              <a:r>
                <a:rPr lang="en-US" sz="1500" dirty="0">
                  <a:solidFill>
                    <a:schemeClr val="bg1"/>
                  </a:solidFill>
                </a:rPr>
                <a:t> show high sales but appear in the </a:t>
              </a:r>
              <a:r>
                <a:rPr lang="en-US" sz="1500" i="1" dirty="0">
                  <a:solidFill>
                    <a:schemeClr val="bg1"/>
                  </a:solidFill>
                </a:rPr>
                <a:t>least profitable states</a:t>
              </a:r>
              <a:r>
                <a:rPr lang="en-US" sz="1500" dirty="0">
                  <a:solidFill>
                    <a:schemeClr val="bg1"/>
                  </a:solidFill>
                </a:rPr>
                <a:t>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Investigate operational costs, pricing strategy, or product mix in these region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sz="15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Online Channel Underperformance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chemeClr val="bg1"/>
                  </a:solidFill>
                </a:rPr>
                <a:t>Online sales volume</a:t>
              </a:r>
              <a:r>
                <a:rPr lang="en-US" sz="1500" dirty="0">
                  <a:solidFill>
                    <a:schemeClr val="bg1"/>
                  </a:solidFill>
                </a:rPr>
                <a:t> lags behind outlet and in-store methods despite overall digital trend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Consider UX improvements, promotional offers, and SEO/marketing for online platforms.</a:t>
              </a:r>
            </a:p>
            <a:p>
              <a:pPr lvl="1"/>
              <a:endParaRPr lang="en-US" sz="15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Profit Margins Vary Widely by Product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Some high-revenue items have </a:t>
              </a:r>
              <a:r>
                <a:rPr lang="en-US" sz="1500" b="1" dirty="0">
                  <a:solidFill>
                    <a:schemeClr val="bg1"/>
                  </a:solidFill>
                </a:rPr>
                <a:t>low profit margins</a:t>
              </a:r>
              <a:r>
                <a:rPr lang="en-US" sz="1500" dirty="0">
                  <a:solidFill>
                    <a:schemeClr val="bg1"/>
                  </a:solidFill>
                </a:rPr>
                <a:t> (e.g., Men’s Athletic Footwear at ~29%)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Revisit pricing or production costs to enhance profitability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938375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1CD94ABC-5518-4D80-AF01-C8A6C13D2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48" y="233475"/>
            <a:ext cx="6467477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Page 4 – Recommendation for Stake hold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C40498D-1A93-4F52-B94D-A7E8DE92B2CE}"/>
              </a:ext>
            </a:extLst>
          </p:cNvPr>
          <p:cNvGrpSpPr/>
          <p:nvPr/>
        </p:nvGrpSpPr>
        <p:grpSpPr>
          <a:xfrm>
            <a:off x="13272108" y="840815"/>
            <a:ext cx="9242611" cy="5176370"/>
            <a:chOff x="1658470" y="840815"/>
            <a:chExt cx="9242611" cy="517637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436F4E7-E06C-4ABB-A7E2-65AEAD75DD77}"/>
                </a:ext>
              </a:extLst>
            </p:cNvPr>
            <p:cNvGrpSpPr/>
            <p:nvPr/>
          </p:nvGrpSpPr>
          <p:grpSpPr>
            <a:xfrm>
              <a:off x="1658470" y="840815"/>
              <a:ext cx="9242611" cy="5176370"/>
              <a:chOff x="2148681" y="1054100"/>
              <a:chExt cx="7894638" cy="4483100"/>
            </a:xfrm>
          </p:grpSpPr>
          <p:sp>
            <p:nvSpPr>
              <p:cNvPr id="10" name="Rectangle: Diagonal Corners Snipped 9">
                <a:extLst>
                  <a:ext uri="{FF2B5EF4-FFF2-40B4-BE49-F238E27FC236}">
                    <a16:creationId xmlns:a16="http://schemas.microsoft.com/office/drawing/2014/main" id="{1085BC9B-937B-4B88-AFD9-0C348C93289B}"/>
                  </a:ext>
                </a:extLst>
              </p:cNvPr>
              <p:cNvSpPr/>
              <p:nvPr/>
            </p:nvSpPr>
            <p:spPr>
              <a:xfrm>
                <a:off x="2148681" y="1282700"/>
                <a:ext cx="7894638" cy="4254500"/>
              </a:xfrm>
              <a:prstGeom prst="snip2DiagRect">
                <a:avLst/>
              </a:prstGeom>
              <a:gradFill flip="none" rotWithShape="1">
                <a:gsLst>
                  <a:gs pos="100000">
                    <a:schemeClr val="tx1">
                      <a:alpha val="57000"/>
                    </a:schemeClr>
                  </a:gs>
                  <a:gs pos="0">
                    <a:srgbClr val="222A35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rgbClr val="2129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2" name="Rectangle: Single Corner Snipped 11">
                <a:extLst>
                  <a:ext uri="{FF2B5EF4-FFF2-40B4-BE49-F238E27FC236}">
                    <a16:creationId xmlns:a16="http://schemas.microsoft.com/office/drawing/2014/main" id="{2797B5B4-FD59-4E56-A93D-0130C7F533AE}"/>
                  </a:ext>
                </a:extLst>
              </p:cNvPr>
              <p:cNvSpPr/>
              <p:nvPr/>
            </p:nvSpPr>
            <p:spPr>
              <a:xfrm>
                <a:off x="2346325" y="10541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: Single Corner Snipped 12">
                <a:extLst>
                  <a:ext uri="{FF2B5EF4-FFF2-40B4-BE49-F238E27FC236}">
                    <a16:creationId xmlns:a16="http://schemas.microsoft.com/office/drawing/2014/main" id="{333333EA-C4F1-4A5E-852F-E3BC6BA2E125}"/>
                  </a:ext>
                </a:extLst>
              </p:cNvPr>
              <p:cNvSpPr/>
              <p:nvPr/>
            </p:nvSpPr>
            <p:spPr>
              <a:xfrm>
                <a:off x="6905625" y="52197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6C6BD07-4F4B-4B32-8EE3-395F8DC7783A}"/>
                </a:ext>
              </a:extLst>
            </p:cNvPr>
            <p:cNvSpPr txBox="1"/>
            <p:nvPr/>
          </p:nvSpPr>
          <p:spPr>
            <a:xfrm>
              <a:off x="1730186" y="1278593"/>
              <a:ext cx="8875059" cy="40318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✅ What’s Going Well (Strengths &amp; Opportunities):</a:t>
              </a:r>
            </a:p>
            <a:p>
              <a:endParaRPr lang="en-US" sz="1600" b="1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0B050"/>
                  </a:solidFill>
                </a:rPr>
                <a:t>High Profit Products Identified:</a:t>
              </a:r>
              <a:endParaRPr lang="en-US" sz="1600" dirty="0">
                <a:solidFill>
                  <a:srgbClr val="00B05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i="1" dirty="0">
                  <a:solidFill>
                    <a:schemeClr val="bg1"/>
                  </a:solidFill>
                </a:rPr>
                <a:t>Men’s Street Footwear</a:t>
              </a:r>
              <a:r>
                <a:rPr lang="en-US" sz="1600" dirty="0">
                  <a:solidFill>
                    <a:schemeClr val="bg1"/>
                  </a:solidFill>
                </a:rPr>
                <a:t> and </a:t>
              </a:r>
              <a:r>
                <a:rPr lang="en-US" sz="1600" i="1" dirty="0">
                  <a:solidFill>
                    <a:schemeClr val="bg1"/>
                  </a:solidFill>
                </a:rPr>
                <a:t>Women’s Apparel</a:t>
              </a:r>
              <a:r>
                <a:rPr lang="en-US" sz="1600" dirty="0">
                  <a:solidFill>
                    <a:schemeClr val="bg1"/>
                  </a:solidFill>
                </a:rPr>
                <a:t> deliver strong profits with high sales volume and solid margin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These products should continue to be prioritized in marketing and inventory planning.</a:t>
              </a:r>
            </a:p>
            <a:p>
              <a:pPr lvl="1"/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0B050"/>
                  </a:solidFill>
                </a:rPr>
                <a:t>Strong Regional Performance:</a:t>
              </a:r>
              <a:endParaRPr lang="en-US" sz="1600" dirty="0">
                <a:solidFill>
                  <a:srgbClr val="00B05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The </a:t>
              </a:r>
              <a:r>
                <a:rPr lang="en-US" sz="1600" b="1" dirty="0">
                  <a:solidFill>
                    <a:schemeClr val="bg1"/>
                  </a:solidFill>
                </a:rPr>
                <a:t>West</a:t>
              </a:r>
              <a:r>
                <a:rPr lang="en-US" sz="1600" dirty="0">
                  <a:solidFill>
                    <a:schemeClr val="bg1"/>
                  </a:solidFill>
                </a:rPr>
                <a:t> region leads in both sales (76.9M) and profit (24.5M), showing excellent performance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Retailer ‘West Gear’</a:t>
              </a:r>
              <a:r>
                <a:rPr lang="en-US" sz="1600" dirty="0">
                  <a:solidFill>
                    <a:schemeClr val="bg1"/>
                  </a:solidFill>
                </a:rPr>
                <a:t> is the top performer — consider expanding partnership or allocating more stock.</a:t>
              </a:r>
            </a:p>
            <a:p>
              <a:pPr lvl="1"/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0B050"/>
                  </a:solidFill>
                </a:rPr>
                <a:t>Best Sales Channel:</a:t>
              </a:r>
              <a:endParaRPr lang="en-US" sz="1600" dirty="0">
                <a:solidFill>
                  <a:srgbClr val="00B05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Outlet stores</a:t>
              </a:r>
              <a:r>
                <a:rPr lang="en-US" sz="1600" dirty="0">
                  <a:solidFill>
                    <a:schemeClr val="bg1"/>
                  </a:solidFill>
                </a:rPr>
                <a:t> generated the highest sales and profits (69M), showing strong customer engagement and conversion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Investment in outlet store marketing or expansion could yield continued growth.</a:t>
              </a:r>
            </a:p>
          </p:txBody>
        </p:sp>
      </p:grp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9A25C20B-9C1B-4A26-90D1-685A4B15D612}"/>
              </a:ext>
            </a:extLst>
          </p:cNvPr>
          <p:cNvSpPr/>
          <p:nvPr/>
        </p:nvSpPr>
        <p:spPr>
          <a:xfrm>
            <a:off x="13424508" y="1257166"/>
            <a:ext cx="9242611" cy="4912419"/>
          </a:xfrm>
          <a:prstGeom prst="snip2DiagRect">
            <a:avLst/>
          </a:prstGeom>
          <a:gradFill flip="none" rotWithShape="1">
            <a:gsLst>
              <a:gs pos="100000">
                <a:schemeClr val="tx1">
                  <a:alpha val="57000"/>
                </a:schemeClr>
              </a:gs>
              <a:gs pos="0">
                <a:srgbClr val="222A35"/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2129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1D48DE6-2F83-4D20-BF35-A4F1A2876CCB}"/>
              </a:ext>
            </a:extLst>
          </p:cNvPr>
          <p:cNvGrpSpPr/>
          <p:nvPr/>
        </p:nvGrpSpPr>
        <p:grpSpPr>
          <a:xfrm>
            <a:off x="1935510" y="993215"/>
            <a:ext cx="9242611" cy="5176370"/>
            <a:chOff x="1658470" y="840815"/>
            <a:chExt cx="9242611" cy="517637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9AD4DE5-77C4-4972-873F-E9F32FF655D6}"/>
                </a:ext>
              </a:extLst>
            </p:cNvPr>
            <p:cNvGrpSpPr/>
            <p:nvPr/>
          </p:nvGrpSpPr>
          <p:grpSpPr>
            <a:xfrm>
              <a:off x="1658470" y="840815"/>
              <a:ext cx="9242611" cy="5176370"/>
              <a:chOff x="2148681" y="1054100"/>
              <a:chExt cx="7894638" cy="4483100"/>
            </a:xfrm>
          </p:grpSpPr>
          <p:sp>
            <p:nvSpPr>
              <p:cNvPr id="16" name="Rectangle: Diagonal Corners Snipped 15">
                <a:extLst>
                  <a:ext uri="{FF2B5EF4-FFF2-40B4-BE49-F238E27FC236}">
                    <a16:creationId xmlns:a16="http://schemas.microsoft.com/office/drawing/2014/main" id="{CB835784-64DA-4693-B228-BDEBFB264A50}"/>
                  </a:ext>
                </a:extLst>
              </p:cNvPr>
              <p:cNvSpPr/>
              <p:nvPr/>
            </p:nvSpPr>
            <p:spPr>
              <a:xfrm>
                <a:off x="2148681" y="1282700"/>
                <a:ext cx="7894638" cy="4254500"/>
              </a:xfrm>
              <a:prstGeom prst="snip2DiagRect">
                <a:avLst/>
              </a:prstGeom>
              <a:gradFill flip="none" rotWithShape="1">
                <a:gsLst>
                  <a:gs pos="100000">
                    <a:schemeClr val="tx1">
                      <a:alpha val="57000"/>
                    </a:schemeClr>
                  </a:gs>
                  <a:gs pos="0">
                    <a:srgbClr val="222A35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rgbClr val="2129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Rectangle: Single Corner Snipped 16">
                <a:extLst>
                  <a:ext uri="{FF2B5EF4-FFF2-40B4-BE49-F238E27FC236}">
                    <a16:creationId xmlns:a16="http://schemas.microsoft.com/office/drawing/2014/main" id="{DEF4FE27-D223-491E-9687-693D040F61EF}"/>
                  </a:ext>
                </a:extLst>
              </p:cNvPr>
              <p:cNvSpPr/>
              <p:nvPr/>
            </p:nvSpPr>
            <p:spPr>
              <a:xfrm>
                <a:off x="2346325" y="10541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tangle: Single Corner Snipped 17">
                <a:extLst>
                  <a:ext uri="{FF2B5EF4-FFF2-40B4-BE49-F238E27FC236}">
                    <a16:creationId xmlns:a16="http://schemas.microsoft.com/office/drawing/2014/main" id="{E3E3E03F-8773-496E-ACAE-6605C463315C}"/>
                  </a:ext>
                </a:extLst>
              </p:cNvPr>
              <p:cNvSpPr/>
              <p:nvPr/>
            </p:nvSpPr>
            <p:spPr>
              <a:xfrm>
                <a:off x="6905625" y="52197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EA378D8-3305-4BEB-8027-1E4277363DBA}"/>
                </a:ext>
              </a:extLst>
            </p:cNvPr>
            <p:cNvSpPr txBox="1"/>
            <p:nvPr/>
          </p:nvSpPr>
          <p:spPr>
            <a:xfrm>
              <a:off x="1880125" y="1310288"/>
              <a:ext cx="8875059" cy="44935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00" b="1" dirty="0">
                  <a:solidFill>
                    <a:schemeClr val="bg1"/>
                  </a:solidFill>
                </a:rPr>
                <a:t>⚠️ What Needs Improvement (Weaknesses &amp; Risks):</a:t>
              </a:r>
            </a:p>
            <a:p>
              <a:endParaRPr lang="en-US" sz="1500" b="1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Underperforming Months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Months like </a:t>
              </a:r>
              <a:r>
                <a:rPr lang="en-US" sz="1500" b="1" dirty="0">
                  <a:solidFill>
                    <a:schemeClr val="bg1"/>
                  </a:solidFill>
                </a:rPr>
                <a:t>June and July</a:t>
              </a:r>
              <a:r>
                <a:rPr lang="en-US" sz="1500" dirty="0">
                  <a:solidFill>
                    <a:schemeClr val="bg1"/>
                  </a:solidFill>
                </a:rPr>
                <a:t> showed significant MoM drops in sales and profit (e.g., June: -47.81%)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Review seasonal demand, marketing efforts, and supply chain during these period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sz="15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High Sales but Low Profit States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States like </a:t>
              </a:r>
              <a:r>
                <a:rPr lang="en-US" sz="1500" b="1" dirty="0">
                  <a:solidFill>
                    <a:schemeClr val="bg1"/>
                  </a:solidFill>
                </a:rPr>
                <a:t>California, Washington, and Nevada</a:t>
              </a:r>
              <a:r>
                <a:rPr lang="en-US" sz="1500" dirty="0">
                  <a:solidFill>
                    <a:schemeClr val="bg1"/>
                  </a:solidFill>
                </a:rPr>
                <a:t> show high sales but appear in the </a:t>
              </a:r>
              <a:r>
                <a:rPr lang="en-US" sz="1500" i="1" dirty="0">
                  <a:solidFill>
                    <a:schemeClr val="bg1"/>
                  </a:solidFill>
                </a:rPr>
                <a:t>least profitable states</a:t>
              </a:r>
              <a:r>
                <a:rPr lang="en-US" sz="1500" dirty="0">
                  <a:solidFill>
                    <a:schemeClr val="bg1"/>
                  </a:solidFill>
                </a:rPr>
                <a:t>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Investigate operational costs, pricing strategy, or product mix in these region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sz="15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Online Channel Underperformance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chemeClr val="bg1"/>
                  </a:solidFill>
                </a:rPr>
                <a:t>Online sales volume</a:t>
              </a:r>
              <a:r>
                <a:rPr lang="en-US" sz="1500" dirty="0">
                  <a:solidFill>
                    <a:schemeClr val="bg1"/>
                  </a:solidFill>
                </a:rPr>
                <a:t> lags behind outlet and in-store methods despite overall digital trend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Consider UX improvements, promotional offers, and SEO/marketing for online platforms.</a:t>
              </a:r>
            </a:p>
            <a:p>
              <a:pPr lvl="1"/>
              <a:endParaRPr lang="en-US" sz="15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Profit Margins Vary Widely by Product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Some high-revenue items have </a:t>
              </a:r>
              <a:r>
                <a:rPr lang="en-US" sz="1500" b="1" dirty="0">
                  <a:solidFill>
                    <a:schemeClr val="bg1"/>
                  </a:solidFill>
                </a:rPr>
                <a:t>low profit margins</a:t>
              </a:r>
              <a:r>
                <a:rPr lang="en-US" sz="1500" dirty="0">
                  <a:solidFill>
                    <a:schemeClr val="bg1"/>
                  </a:solidFill>
                </a:rPr>
                <a:t> (e.g., Men’s Athletic Footwear at ~29%)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Revisit pricing or production costs to enhance profitability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18021A-251A-4F99-A91D-CDF02D189458}"/>
              </a:ext>
            </a:extLst>
          </p:cNvPr>
          <p:cNvGrpSpPr/>
          <p:nvPr/>
        </p:nvGrpSpPr>
        <p:grpSpPr>
          <a:xfrm>
            <a:off x="-9660345" y="1152123"/>
            <a:ext cx="9242611" cy="4160941"/>
            <a:chOff x="1658470" y="840815"/>
            <a:chExt cx="9242611" cy="4389288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2B3FEE9B-0734-42E6-B55E-99C49799CCA3}"/>
                </a:ext>
              </a:extLst>
            </p:cNvPr>
            <p:cNvGrpSpPr/>
            <p:nvPr/>
          </p:nvGrpSpPr>
          <p:grpSpPr>
            <a:xfrm>
              <a:off x="1658470" y="840815"/>
              <a:ext cx="9242611" cy="4389288"/>
              <a:chOff x="2148681" y="1054100"/>
              <a:chExt cx="7894638" cy="3801427"/>
            </a:xfrm>
          </p:grpSpPr>
          <p:sp>
            <p:nvSpPr>
              <p:cNvPr id="22" name="Rectangle: Diagonal Corners Snipped 21">
                <a:extLst>
                  <a:ext uri="{FF2B5EF4-FFF2-40B4-BE49-F238E27FC236}">
                    <a16:creationId xmlns:a16="http://schemas.microsoft.com/office/drawing/2014/main" id="{0374DD8E-ACC9-4162-A832-C4F3A418FD77}"/>
                  </a:ext>
                </a:extLst>
              </p:cNvPr>
              <p:cNvSpPr/>
              <p:nvPr/>
            </p:nvSpPr>
            <p:spPr>
              <a:xfrm>
                <a:off x="2148681" y="1282701"/>
                <a:ext cx="7894638" cy="3572826"/>
              </a:xfrm>
              <a:prstGeom prst="snip2DiagRect">
                <a:avLst/>
              </a:prstGeom>
              <a:gradFill flip="none" rotWithShape="1">
                <a:gsLst>
                  <a:gs pos="100000">
                    <a:schemeClr val="tx1">
                      <a:alpha val="57000"/>
                    </a:schemeClr>
                  </a:gs>
                  <a:gs pos="0">
                    <a:srgbClr val="222A35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rgbClr val="2129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3" name="Rectangle: Single Corner Snipped 22">
                <a:extLst>
                  <a:ext uri="{FF2B5EF4-FFF2-40B4-BE49-F238E27FC236}">
                    <a16:creationId xmlns:a16="http://schemas.microsoft.com/office/drawing/2014/main" id="{7CFB7F55-5843-484B-B905-B73E666BE1B9}"/>
                  </a:ext>
                </a:extLst>
              </p:cNvPr>
              <p:cNvSpPr/>
              <p:nvPr/>
            </p:nvSpPr>
            <p:spPr>
              <a:xfrm>
                <a:off x="2346325" y="10541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tangle: Single Corner Snipped 23">
                <a:extLst>
                  <a:ext uri="{FF2B5EF4-FFF2-40B4-BE49-F238E27FC236}">
                    <a16:creationId xmlns:a16="http://schemas.microsoft.com/office/drawing/2014/main" id="{984CD574-956F-4C53-A6A7-DCBC5842F55A}"/>
                  </a:ext>
                </a:extLst>
              </p:cNvPr>
              <p:cNvSpPr/>
              <p:nvPr/>
            </p:nvSpPr>
            <p:spPr>
              <a:xfrm>
                <a:off x="7015852" y="4619609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079DDF6-5B5D-4723-B937-C5EC1BA3AACD}"/>
                </a:ext>
              </a:extLst>
            </p:cNvPr>
            <p:cNvSpPr txBox="1"/>
            <p:nvPr/>
          </p:nvSpPr>
          <p:spPr>
            <a:xfrm>
              <a:off x="1880125" y="1310288"/>
              <a:ext cx="8875059" cy="3733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🧠 Strategic Suggestions:</a:t>
              </a:r>
            </a:p>
            <a:p>
              <a:endParaRPr lang="en-US" sz="1600" b="1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🛠️ </a:t>
              </a:r>
              <a:r>
                <a:rPr lang="en-US" sz="1600" b="1" dirty="0">
                  <a:solidFill>
                    <a:schemeClr val="bg1"/>
                  </a:solidFill>
                </a:rPr>
                <a:t>Optimize Inventory &amp; Focus on High-Margin Products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Focus production and marketing efforts on high-margin, high-performing items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🌐 </a:t>
              </a:r>
              <a:r>
                <a:rPr lang="en-US" sz="1600" b="1" dirty="0">
                  <a:solidFill>
                    <a:schemeClr val="bg1"/>
                  </a:solidFill>
                </a:rPr>
                <a:t>Boost Online Sales Through Campaigns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Run seasonal promotions, improve website UX, and use retargeting ads to drive more online traffic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📍 </a:t>
              </a:r>
              <a:r>
                <a:rPr lang="en-US" sz="1600" b="1" dirty="0">
                  <a:solidFill>
                    <a:schemeClr val="bg1"/>
                  </a:solidFill>
                </a:rPr>
                <a:t>Region-Specific Pricing or Promotions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Adjust pricing or promotional efforts in low-profit states to improve margin without hurting volume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📈 </a:t>
              </a:r>
              <a:r>
                <a:rPr lang="en-US" sz="1600" b="1" dirty="0">
                  <a:solidFill>
                    <a:schemeClr val="bg1"/>
                  </a:solidFill>
                </a:rPr>
                <a:t>Monitor Sales Trends Monthly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Use the dashboard regularly to catch sudden drops or spikes early — and respond faster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51865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1CD94ABC-5518-4D80-AF01-C8A6C13D2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48" y="233475"/>
            <a:ext cx="6467477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Page 4 – Recommendation for Stake holde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C40498D-1A93-4F52-B94D-A7E8DE92B2CE}"/>
              </a:ext>
            </a:extLst>
          </p:cNvPr>
          <p:cNvGrpSpPr/>
          <p:nvPr/>
        </p:nvGrpSpPr>
        <p:grpSpPr>
          <a:xfrm>
            <a:off x="13272108" y="840815"/>
            <a:ext cx="9242611" cy="5176370"/>
            <a:chOff x="1658470" y="840815"/>
            <a:chExt cx="9242611" cy="517637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436F4E7-E06C-4ABB-A7E2-65AEAD75DD77}"/>
                </a:ext>
              </a:extLst>
            </p:cNvPr>
            <p:cNvGrpSpPr/>
            <p:nvPr/>
          </p:nvGrpSpPr>
          <p:grpSpPr>
            <a:xfrm>
              <a:off x="1658470" y="840815"/>
              <a:ext cx="9242611" cy="5176370"/>
              <a:chOff x="2148681" y="1054100"/>
              <a:chExt cx="7894638" cy="4483100"/>
            </a:xfrm>
          </p:grpSpPr>
          <p:sp>
            <p:nvSpPr>
              <p:cNvPr id="10" name="Rectangle: Diagonal Corners Snipped 9">
                <a:extLst>
                  <a:ext uri="{FF2B5EF4-FFF2-40B4-BE49-F238E27FC236}">
                    <a16:creationId xmlns:a16="http://schemas.microsoft.com/office/drawing/2014/main" id="{1085BC9B-937B-4B88-AFD9-0C348C93289B}"/>
                  </a:ext>
                </a:extLst>
              </p:cNvPr>
              <p:cNvSpPr/>
              <p:nvPr/>
            </p:nvSpPr>
            <p:spPr>
              <a:xfrm>
                <a:off x="2148681" y="1282700"/>
                <a:ext cx="7894638" cy="4254500"/>
              </a:xfrm>
              <a:prstGeom prst="snip2DiagRect">
                <a:avLst/>
              </a:prstGeom>
              <a:gradFill flip="none" rotWithShape="1">
                <a:gsLst>
                  <a:gs pos="100000">
                    <a:schemeClr val="tx1">
                      <a:alpha val="57000"/>
                    </a:schemeClr>
                  </a:gs>
                  <a:gs pos="0">
                    <a:srgbClr val="222A35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rgbClr val="2129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2" name="Rectangle: Single Corner Snipped 11">
                <a:extLst>
                  <a:ext uri="{FF2B5EF4-FFF2-40B4-BE49-F238E27FC236}">
                    <a16:creationId xmlns:a16="http://schemas.microsoft.com/office/drawing/2014/main" id="{2797B5B4-FD59-4E56-A93D-0130C7F533AE}"/>
                  </a:ext>
                </a:extLst>
              </p:cNvPr>
              <p:cNvSpPr/>
              <p:nvPr/>
            </p:nvSpPr>
            <p:spPr>
              <a:xfrm>
                <a:off x="2346325" y="10541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: Single Corner Snipped 12">
                <a:extLst>
                  <a:ext uri="{FF2B5EF4-FFF2-40B4-BE49-F238E27FC236}">
                    <a16:creationId xmlns:a16="http://schemas.microsoft.com/office/drawing/2014/main" id="{333333EA-C4F1-4A5E-852F-E3BC6BA2E125}"/>
                  </a:ext>
                </a:extLst>
              </p:cNvPr>
              <p:cNvSpPr/>
              <p:nvPr/>
            </p:nvSpPr>
            <p:spPr>
              <a:xfrm>
                <a:off x="6905625" y="52197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6C6BD07-4F4B-4B32-8EE3-395F8DC7783A}"/>
                </a:ext>
              </a:extLst>
            </p:cNvPr>
            <p:cNvSpPr txBox="1"/>
            <p:nvPr/>
          </p:nvSpPr>
          <p:spPr>
            <a:xfrm>
              <a:off x="1730186" y="1278593"/>
              <a:ext cx="8875059" cy="40318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✅ What’s Going Well (Strengths &amp; Opportunities):</a:t>
              </a:r>
            </a:p>
            <a:p>
              <a:endParaRPr lang="en-US" sz="1600" b="1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0B050"/>
                  </a:solidFill>
                </a:rPr>
                <a:t>High Profit Products Identified:</a:t>
              </a:r>
              <a:endParaRPr lang="en-US" sz="1600" dirty="0">
                <a:solidFill>
                  <a:srgbClr val="00B05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i="1" dirty="0">
                  <a:solidFill>
                    <a:schemeClr val="bg1"/>
                  </a:solidFill>
                </a:rPr>
                <a:t>Men’s Street Footwear</a:t>
              </a:r>
              <a:r>
                <a:rPr lang="en-US" sz="1600" dirty="0">
                  <a:solidFill>
                    <a:schemeClr val="bg1"/>
                  </a:solidFill>
                </a:rPr>
                <a:t> and </a:t>
              </a:r>
              <a:r>
                <a:rPr lang="en-US" sz="1600" i="1" dirty="0">
                  <a:solidFill>
                    <a:schemeClr val="bg1"/>
                  </a:solidFill>
                </a:rPr>
                <a:t>Women’s Apparel</a:t>
              </a:r>
              <a:r>
                <a:rPr lang="en-US" sz="1600" dirty="0">
                  <a:solidFill>
                    <a:schemeClr val="bg1"/>
                  </a:solidFill>
                </a:rPr>
                <a:t> deliver strong profits with high sales volume and solid margin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These products should continue to be prioritized in marketing and inventory planning.</a:t>
              </a:r>
            </a:p>
            <a:p>
              <a:pPr lvl="1"/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0B050"/>
                  </a:solidFill>
                </a:rPr>
                <a:t>Strong Regional Performance:</a:t>
              </a:r>
              <a:endParaRPr lang="en-US" sz="1600" dirty="0">
                <a:solidFill>
                  <a:srgbClr val="00B05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The </a:t>
              </a:r>
              <a:r>
                <a:rPr lang="en-US" sz="1600" b="1" dirty="0">
                  <a:solidFill>
                    <a:schemeClr val="bg1"/>
                  </a:solidFill>
                </a:rPr>
                <a:t>West</a:t>
              </a:r>
              <a:r>
                <a:rPr lang="en-US" sz="1600" dirty="0">
                  <a:solidFill>
                    <a:schemeClr val="bg1"/>
                  </a:solidFill>
                </a:rPr>
                <a:t> region leads in both sales (76.9M) and profit (24.5M), showing excellent performance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Retailer ‘West Gear’</a:t>
              </a:r>
              <a:r>
                <a:rPr lang="en-US" sz="1600" dirty="0">
                  <a:solidFill>
                    <a:schemeClr val="bg1"/>
                  </a:solidFill>
                </a:rPr>
                <a:t> is the top performer — consider expanding partnership or allocating more stock.</a:t>
              </a:r>
            </a:p>
            <a:p>
              <a:pPr lvl="1"/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0B050"/>
                  </a:solidFill>
                </a:rPr>
                <a:t>Best Sales Channel:</a:t>
              </a:r>
              <a:endParaRPr lang="en-US" sz="1600" dirty="0">
                <a:solidFill>
                  <a:srgbClr val="00B05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Outlet stores</a:t>
              </a:r>
              <a:r>
                <a:rPr lang="en-US" sz="1600" dirty="0">
                  <a:solidFill>
                    <a:schemeClr val="bg1"/>
                  </a:solidFill>
                </a:rPr>
                <a:t> generated the highest sales and profits (69M), showing strong customer engagement and conversion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Investment in outlet store marketing or expansion could yield continued growth.</a:t>
              </a:r>
            </a:p>
          </p:txBody>
        </p:sp>
      </p:grp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9A25C20B-9C1B-4A26-90D1-685A4B15D612}"/>
              </a:ext>
            </a:extLst>
          </p:cNvPr>
          <p:cNvSpPr/>
          <p:nvPr/>
        </p:nvSpPr>
        <p:spPr>
          <a:xfrm>
            <a:off x="13424508" y="1257166"/>
            <a:ext cx="9242611" cy="4912419"/>
          </a:xfrm>
          <a:prstGeom prst="snip2DiagRect">
            <a:avLst/>
          </a:prstGeom>
          <a:gradFill flip="none" rotWithShape="1">
            <a:gsLst>
              <a:gs pos="100000">
                <a:schemeClr val="tx1">
                  <a:alpha val="57000"/>
                </a:schemeClr>
              </a:gs>
              <a:gs pos="0">
                <a:srgbClr val="222A35"/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2129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1D48DE6-2F83-4D20-BF35-A4F1A2876CCB}"/>
              </a:ext>
            </a:extLst>
          </p:cNvPr>
          <p:cNvGrpSpPr/>
          <p:nvPr/>
        </p:nvGrpSpPr>
        <p:grpSpPr>
          <a:xfrm>
            <a:off x="13380265" y="993215"/>
            <a:ext cx="9242611" cy="5176370"/>
            <a:chOff x="1658470" y="840815"/>
            <a:chExt cx="9242611" cy="517637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9AD4DE5-77C4-4972-873F-E9F32FF655D6}"/>
                </a:ext>
              </a:extLst>
            </p:cNvPr>
            <p:cNvGrpSpPr/>
            <p:nvPr/>
          </p:nvGrpSpPr>
          <p:grpSpPr>
            <a:xfrm>
              <a:off x="1658470" y="840815"/>
              <a:ext cx="9242611" cy="5176370"/>
              <a:chOff x="2148681" y="1054100"/>
              <a:chExt cx="7894638" cy="4483100"/>
            </a:xfrm>
          </p:grpSpPr>
          <p:sp>
            <p:nvSpPr>
              <p:cNvPr id="16" name="Rectangle: Diagonal Corners Snipped 15">
                <a:extLst>
                  <a:ext uri="{FF2B5EF4-FFF2-40B4-BE49-F238E27FC236}">
                    <a16:creationId xmlns:a16="http://schemas.microsoft.com/office/drawing/2014/main" id="{CB835784-64DA-4693-B228-BDEBFB264A50}"/>
                  </a:ext>
                </a:extLst>
              </p:cNvPr>
              <p:cNvSpPr/>
              <p:nvPr/>
            </p:nvSpPr>
            <p:spPr>
              <a:xfrm>
                <a:off x="2148681" y="1282700"/>
                <a:ext cx="7894638" cy="4254500"/>
              </a:xfrm>
              <a:prstGeom prst="snip2DiagRect">
                <a:avLst/>
              </a:prstGeom>
              <a:gradFill flip="none" rotWithShape="1">
                <a:gsLst>
                  <a:gs pos="100000">
                    <a:schemeClr val="tx1">
                      <a:alpha val="57000"/>
                    </a:schemeClr>
                  </a:gs>
                  <a:gs pos="0">
                    <a:srgbClr val="222A35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rgbClr val="2129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Rectangle: Single Corner Snipped 16">
                <a:extLst>
                  <a:ext uri="{FF2B5EF4-FFF2-40B4-BE49-F238E27FC236}">
                    <a16:creationId xmlns:a16="http://schemas.microsoft.com/office/drawing/2014/main" id="{DEF4FE27-D223-491E-9687-693D040F61EF}"/>
                  </a:ext>
                </a:extLst>
              </p:cNvPr>
              <p:cNvSpPr/>
              <p:nvPr/>
            </p:nvSpPr>
            <p:spPr>
              <a:xfrm>
                <a:off x="2346325" y="10541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tangle: Single Corner Snipped 17">
                <a:extLst>
                  <a:ext uri="{FF2B5EF4-FFF2-40B4-BE49-F238E27FC236}">
                    <a16:creationId xmlns:a16="http://schemas.microsoft.com/office/drawing/2014/main" id="{E3E3E03F-8773-496E-ACAE-6605C463315C}"/>
                  </a:ext>
                </a:extLst>
              </p:cNvPr>
              <p:cNvSpPr/>
              <p:nvPr/>
            </p:nvSpPr>
            <p:spPr>
              <a:xfrm>
                <a:off x="6905625" y="52197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EA378D8-3305-4BEB-8027-1E4277363DBA}"/>
                </a:ext>
              </a:extLst>
            </p:cNvPr>
            <p:cNvSpPr txBox="1"/>
            <p:nvPr/>
          </p:nvSpPr>
          <p:spPr>
            <a:xfrm>
              <a:off x="1880125" y="1310288"/>
              <a:ext cx="8875059" cy="44935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500" b="1" dirty="0">
                  <a:solidFill>
                    <a:schemeClr val="bg1"/>
                  </a:solidFill>
                </a:rPr>
                <a:t>⚠️ What Needs Improvement (Weaknesses &amp; Risks):</a:t>
              </a:r>
            </a:p>
            <a:p>
              <a:endParaRPr lang="en-US" sz="1500" b="1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Underperforming Months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Months like </a:t>
              </a:r>
              <a:r>
                <a:rPr lang="en-US" sz="1500" b="1" dirty="0">
                  <a:solidFill>
                    <a:schemeClr val="bg1"/>
                  </a:solidFill>
                </a:rPr>
                <a:t>June and July</a:t>
              </a:r>
              <a:r>
                <a:rPr lang="en-US" sz="1500" dirty="0">
                  <a:solidFill>
                    <a:schemeClr val="bg1"/>
                  </a:solidFill>
                </a:rPr>
                <a:t> showed significant MoM drops in sales and profit (e.g., June: -47.81%)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Review seasonal demand, marketing efforts, and supply chain during these period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sz="15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High Sales but Low Profit States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States like </a:t>
              </a:r>
              <a:r>
                <a:rPr lang="en-US" sz="1500" b="1" dirty="0">
                  <a:solidFill>
                    <a:schemeClr val="bg1"/>
                  </a:solidFill>
                </a:rPr>
                <a:t>California, Washington, and Nevada</a:t>
              </a:r>
              <a:r>
                <a:rPr lang="en-US" sz="1500" dirty="0">
                  <a:solidFill>
                    <a:schemeClr val="bg1"/>
                  </a:solidFill>
                </a:rPr>
                <a:t> show high sales but appear in the </a:t>
              </a:r>
              <a:r>
                <a:rPr lang="en-US" sz="1500" i="1" dirty="0">
                  <a:solidFill>
                    <a:schemeClr val="bg1"/>
                  </a:solidFill>
                </a:rPr>
                <a:t>least profitable states</a:t>
              </a:r>
              <a:r>
                <a:rPr lang="en-US" sz="1500" dirty="0">
                  <a:solidFill>
                    <a:schemeClr val="bg1"/>
                  </a:solidFill>
                </a:rPr>
                <a:t>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Investigate operational costs, pricing strategy, or product mix in these region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endParaRPr lang="en-US" sz="15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Online Channel Underperformance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chemeClr val="bg1"/>
                  </a:solidFill>
                </a:rPr>
                <a:t>Online sales volume</a:t>
              </a:r>
              <a:r>
                <a:rPr lang="en-US" sz="1500" dirty="0">
                  <a:solidFill>
                    <a:schemeClr val="bg1"/>
                  </a:solidFill>
                </a:rPr>
                <a:t> lags behind outlet and in-store methods despite overall digital trends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Consider UX improvements, promotional offers, and SEO/marketing for online platforms.</a:t>
              </a:r>
            </a:p>
            <a:p>
              <a:pPr lvl="1"/>
              <a:endParaRPr lang="en-US" sz="15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500" b="1" dirty="0">
                  <a:solidFill>
                    <a:srgbClr val="FF0000"/>
                  </a:solidFill>
                </a:rPr>
                <a:t>Profit Margins Vary Widely by Product:</a:t>
              </a:r>
              <a:endParaRPr lang="en-US" sz="1500" dirty="0">
                <a:solidFill>
                  <a:srgbClr val="FF0000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Some high-revenue items have </a:t>
              </a:r>
              <a:r>
                <a:rPr lang="en-US" sz="1500" b="1" dirty="0">
                  <a:solidFill>
                    <a:schemeClr val="bg1"/>
                  </a:solidFill>
                </a:rPr>
                <a:t>low profit margins</a:t>
              </a:r>
              <a:r>
                <a:rPr lang="en-US" sz="1500" dirty="0">
                  <a:solidFill>
                    <a:schemeClr val="bg1"/>
                  </a:solidFill>
                </a:rPr>
                <a:t> (e.g., Men’s Athletic Footwear at ~29%).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500" dirty="0">
                  <a:solidFill>
                    <a:schemeClr val="bg1"/>
                  </a:solidFill>
                </a:rPr>
                <a:t>Revisit pricing or production costs to enhance profitability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9F29FE1-6ABF-43D8-B43E-6B3F7E0C04A4}"/>
              </a:ext>
            </a:extLst>
          </p:cNvPr>
          <p:cNvGrpSpPr/>
          <p:nvPr/>
        </p:nvGrpSpPr>
        <p:grpSpPr>
          <a:xfrm>
            <a:off x="1474694" y="1152123"/>
            <a:ext cx="9242611" cy="4160941"/>
            <a:chOff x="1658470" y="840815"/>
            <a:chExt cx="9242611" cy="4389288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133256F-3C78-4F03-A694-1D6610C1C5D7}"/>
                </a:ext>
              </a:extLst>
            </p:cNvPr>
            <p:cNvGrpSpPr/>
            <p:nvPr/>
          </p:nvGrpSpPr>
          <p:grpSpPr>
            <a:xfrm>
              <a:off x="1658470" y="840815"/>
              <a:ext cx="9242611" cy="4389288"/>
              <a:chOff x="2148681" y="1054100"/>
              <a:chExt cx="7894638" cy="3801427"/>
            </a:xfrm>
          </p:grpSpPr>
          <p:sp>
            <p:nvSpPr>
              <p:cNvPr id="22" name="Rectangle: Diagonal Corners Snipped 21">
                <a:extLst>
                  <a:ext uri="{FF2B5EF4-FFF2-40B4-BE49-F238E27FC236}">
                    <a16:creationId xmlns:a16="http://schemas.microsoft.com/office/drawing/2014/main" id="{9F2FAE57-C302-4E36-BDA0-44242A70FB8F}"/>
                  </a:ext>
                </a:extLst>
              </p:cNvPr>
              <p:cNvSpPr/>
              <p:nvPr/>
            </p:nvSpPr>
            <p:spPr>
              <a:xfrm>
                <a:off x="2148681" y="1282701"/>
                <a:ext cx="7894638" cy="3572826"/>
              </a:xfrm>
              <a:prstGeom prst="snip2DiagRect">
                <a:avLst/>
              </a:prstGeom>
              <a:gradFill flip="none" rotWithShape="1">
                <a:gsLst>
                  <a:gs pos="100000">
                    <a:schemeClr val="tx1">
                      <a:alpha val="57000"/>
                    </a:schemeClr>
                  </a:gs>
                  <a:gs pos="0">
                    <a:srgbClr val="222A35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rgbClr val="2129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3" name="Rectangle: Single Corner Snipped 22">
                <a:extLst>
                  <a:ext uri="{FF2B5EF4-FFF2-40B4-BE49-F238E27FC236}">
                    <a16:creationId xmlns:a16="http://schemas.microsoft.com/office/drawing/2014/main" id="{7A4FC4AF-5069-40DB-833D-8ABB98D46584}"/>
                  </a:ext>
                </a:extLst>
              </p:cNvPr>
              <p:cNvSpPr/>
              <p:nvPr/>
            </p:nvSpPr>
            <p:spPr>
              <a:xfrm>
                <a:off x="2346325" y="1054100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tangle: Single Corner Snipped 23">
                <a:extLst>
                  <a:ext uri="{FF2B5EF4-FFF2-40B4-BE49-F238E27FC236}">
                    <a16:creationId xmlns:a16="http://schemas.microsoft.com/office/drawing/2014/main" id="{F677E83D-32D4-4098-8358-5D7CF85AF018}"/>
                  </a:ext>
                </a:extLst>
              </p:cNvPr>
              <p:cNvSpPr/>
              <p:nvPr/>
            </p:nvSpPr>
            <p:spPr>
              <a:xfrm>
                <a:off x="7015852" y="4619609"/>
                <a:ext cx="3013075" cy="228600"/>
              </a:xfrm>
              <a:prstGeom prst="snip1Rect">
                <a:avLst>
                  <a:gd name="adj" fmla="val 50000"/>
                </a:avLst>
              </a:prstGeom>
              <a:solidFill>
                <a:schemeClr val="tx1">
                  <a:lumMod val="50000"/>
                  <a:lumOff val="50000"/>
                  <a:alpha val="2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F2EAD5F-9F62-4556-9968-5F3CD033FD54}"/>
                </a:ext>
              </a:extLst>
            </p:cNvPr>
            <p:cNvSpPr txBox="1"/>
            <p:nvPr/>
          </p:nvSpPr>
          <p:spPr>
            <a:xfrm>
              <a:off x="1880125" y="1310288"/>
              <a:ext cx="8875059" cy="3733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🧠 Strategic Suggestions:</a:t>
              </a:r>
            </a:p>
            <a:p>
              <a:endParaRPr lang="en-US" sz="1600" b="1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🛠️ </a:t>
              </a:r>
              <a:r>
                <a:rPr lang="en-US" sz="1600" b="1" dirty="0">
                  <a:solidFill>
                    <a:schemeClr val="bg1"/>
                  </a:solidFill>
                </a:rPr>
                <a:t>Optimize Inventory &amp; Focus on High-Margin Products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Focus production and marketing efforts on high-margin, high-performing items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🌐 </a:t>
              </a:r>
              <a:r>
                <a:rPr lang="en-US" sz="1600" b="1" dirty="0">
                  <a:solidFill>
                    <a:schemeClr val="bg1"/>
                  </a:solidFill>
                </a:rPr>
                <a:t>Boost Online Sales Through Campaigns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Run seasonal promotions, improve website UX, and use retargeting ads to drive more online traffic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📍 </a:t>
              </a:r>
              <a:r>
                <a:rPr lang="en-US" sz="1600" b="1" dirty="0">
                  <a:solidFill>
                    <a:schemeClr val="bg1"/>
                  </a:solidFill>
                </a:rPr>
                <a:t>Region-Specific Pricing or Promotions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Adjust pricing or promotional efforts in low-profit states to improve margin without hurting volume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bg1"/>
                  </a:solidFill>
                </a:rPr>
                <a:t>📈 </a:t>
              </a:r>
              <a:r>
                <a:rPr lang="en-US" sz="1600" b="1" dirty="0">
                  <a:solidFill>
                    <a:schemeClr val="bg1"/>
                  </a:solidFill>
                </a:rPr>
                <a:t>Monitor Sales Trends Monthly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Use the dashboard regularly to catch sudden drops or spikes early — and respond faster.</a:t>
              </a:r>
            </a:p>
            <a:p>
              <a:endParaRPr lang="en-US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31928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1315</Words>
  <Application>Microsoft Office PowerPoint</Application>
  <PresentationFormat>Widescreen</PresentationFormat>
  <Paragraphs>155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Segoe UI Black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sh Shaik</dc:creator>
  <cp:lastModifiedBy>Danish Shaik</cp:lastModifiedBy>
  <cp:revision>5</cp:revision>
  <dcterms:created xsi:type="dcterms:W3CDTF">2025-06-06T14:21:01Z</dcterms:created>
  <dcterms:modified xsi:type="dcterms:W3CDTF">2025-06-06T14:43:03Z</dcterms:modified>
</cp:coreProperties>
</file>